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7" r:id="rId2"/>
    <p:sldId id="258" r:id="rId3"/>
    <p:sldId id="259" r:id="rId4"/>
    <p:sldId id="2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258"/>
            <p14:sldId id="259"/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1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1/6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6D0E89-73C9-7043-BB6F-B849EC67E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61B950-03A6-A84F-9054-CDB914F77DD1}"/>
              </a:ext>
            </a:extLst>
          </p:cNvPr>
          <p:cNvSpPr txBox="1"/>
          <p:nvPr/>
        </p:nvSpPr>
        <p:spPr>
          <a:xfrm>
            <a:off x="426000" y="782902"/>
            <a:ext cx="766292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400" dirty="0">
                <a:solidFill>
                  <a:srgbClr val="313131"/>
                </a:solidFill>
              </a:rPr>
              <a:t>CLIENT DISCOVE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6AB606-3CFA-EA48-88D6-D9386E3BDC75}"/>
              </a:ext>
            </a:extLst>
          </p:cNvPr>
          <p:cNvSpPr txBox="1"/>
          <p:nvPr/>
        </p:nvSpPr>
        <p:spPr>
          <a:xfrm>
            <a:off x="271306" y="1286821"/>
            <a:ext cx="5717512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ARCHITECTURE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loud Based Architecture : AWS , Google Cloud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hifts System Maintenance to Cloud Provid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entral Local Database/Datacenter for Security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IT staff only need knowledge of the Cloud Plat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2854C5-98E9-AD42-99F5-97B8A5ECF82B}"/>
              </a:ext>
            </a:extLst>
          </p:cNvPr>
          <p:cNvSpPr txBox="1"/>
          <p:nvPr/>
        </p:nvSpPr>
        <p:spPr>
          <a:xfrm>
            <a:off x="5811297" y="1390631"/>
            <a:ext cx="6270171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DELIVERY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eb App for SaaS services like : Expense Track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Mobile App to provide quick personal account management fo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</a:rPr>
              <a:t> u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588B4-37BD-3248-98FF-E117031D4043}"/>
              </a:ext>
            </a:extLst>
          </p:cNvPr>
          <p:cNvSpPr txBox="1"/>
          <p:nvPr/>
        </p:nvSpPr>
        <p:spPr>
          <a:xfrm>
            <a:off x="271306" y="4190163"/>
            <a:ext cx="5895033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RELIABILITY OF SOLUTION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ill be Compliant to all Web and Mobile App Guideline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Provide simple interactive user interface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Testing and </a:t>
            </a:r>
            <a:r>
              <a:rPr lang="en-US" sz="1600" dirty="0" err="1">
                <a:solidFill>
                  <a:srgbClr val="313131"/>
                </a:solidFill>
              </a:rPr>
              <a:t>Desing</a:t>
            </a:r>
            <a:r>
              <a:rPr lang="en-US" sz="1600" dirty="0">
                <a:solidFill>
                  <a:srgbClr val="313131"/>
                </a:solidFill>
              </a:rPr>
              <a:t> can be done on Live version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408DBD-5249-0443-A7F5-CA16C3DD82F6}"/>
              </a:ext>
            </a:extLst>
          </p:cNvPr>
          <p:cNvSpPr txBox="1"/>
          <p:nvPr/>
        </p:nvSpPr>
        <p:spPr>
          <a:xfrm>
            <a:off x="6253424" y="4028579"/>
            <a:ext cx="5828044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FRAMEWORKS :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Backend Framework : Django(Python) Fast Scaling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Front End Framework : React(JavaScript)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ompatibility with all modern brow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erver Operating System : Linux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30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C2CBC8-ADB0-F542-83BF-1EFA2FBBA4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000" y="1382559"/>
            <a:ext cx="5670000" cy="2046441"/>
          </a:xfrm>
        </p:spPr>
        <p:txBody>
          <a:bodyPr/>
          <a:lstStyle/>
          <a:p>
            <a:r>
              <a:rPr lang="en-US" sz="1800" b="1" u="sng" dirty="0"/>
              <a:t>COST ANALYSI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Hardware Cost Reduction through. Cloud Based Infrastruct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Employee Base Reduction Through Online Syste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Overhead Costs and Software Costs Optimized through Pay as You Go Model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7BA14E-D249-544C-86A7-2FAC707EC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Business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133173-80FA-7847-8D34-2B61A31E6258}"/>
              </a:ext>
            </a:extLst>
          </p:cNvPr>
          <p:cNvSpPr txBox="1"/>
          <p:nvPr/>
        </p:nvSpPr>
        <p:spPr>
          <a:xfrm>
            <a:off x="426000" y="790904"/>
            <a:ext cx="43492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rgbClr val="313131"/>
                </a:solidFill>
              </a:rPr>
              <a:t>BUSINESS CASE CONSID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8569FA-2475-154E-8EB5-CE7123F0CC95}"/>
              </a:ext>
            </a:extLst>
          </p:cNvPr>
          <p:cNvSpPr txBox="1"/>
          <p:nvPr/>
        </p:nvSpPr>
        <p:spPr>
          <a:xfrm>
            <a:off x="6096000" y="1307769"/>
            <a:ext cx="5670000" cy="21544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Automation Implementations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Implementation of Mobile App will automate tasks such as : Bill Payment and Loans Management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Implementation of Online Portal will automate tasks such as : Customer Inquires , FAQS, 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Customer Offerings can be increased since scaling on Cloud Platforms is eas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D3CB4D-F656-C94B-842C-A1588AAC2966}"/>
              </a:ext>
            </a:extLst>
          </p:cNvPr>
          <p:cNvSpPr txBox="1"/>
          <p:nvPr/>
        </p:nvSpPr>
        <p:spPr>
          <a:xfrm>
            <a:off x="522513" y="4069582"/>
            <a:ext cx="5215095" cy="2600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Benefits of Strategy </a:t>
            </a:r>
          </a:p>
          <a:p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customer demograph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line platform and large records of data will help in customer segmentation and market analysis 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tter management of resources 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 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916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965B45-EB1C-274E-8A7B-EC40B7FAD7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000" y="1441064"/>
            <a:ext cx="5582914" cy="1800219"/>
          </a:xfrm>
        </p:spPr>
        <p:txBody>
          <a:bodyPr/>
          <a:lstStyle/>
          <a:p>
            <a:r>
              <a:rPr lang="en-US" sz="1800" b="1" u="sng" dirty="0"/>
              <a:t>RESOURCES NEEDED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echnician Level Employees need to pass cloud skill t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enior Level Executives need to have Skills Relating to Management , Technology and Cloud Infrastruct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Mobile App and Web Portal can be Outsourced to reputable Software Hous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0F48EF-CB0C-F84A-9941-2C9000493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CONSID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D9A081-5AC8-A742-9A3C-FD91B2E43EC8}"/>
              </a:ext>
            </a:extLst>
          </p:cNvPr>
          <p:cNvSpPr txBox="1"/>
          <p:nvPr/>
        </p:nvSpPr>
        <p:spPr>
          <a:xfrm>
            <a:off x="426000" y="825509"/>
            <a:ext cx="28698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rgbClr val="313131"/>
                </a:solidFill>
              </a:rPr>
              <a:t>FINAL IMPLEMENTA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9EBA3D-168B-8748-8AA5-C36FAFA34C15}"/>
              </a:ext>
            </a:extLst>
          </p:cNvPr>
          <p:cNvSpPr txBox="1"/>
          <p:nvPr/>
        </p:nvSpPr>
        <p:spPr>
          <a:xfrm>
            <a:off x="6420896" y="1406769"/>
            <a:ext cx="534510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Costs Management :</a:t>
            </a:r>
          </a:p>
          <a:p>
            <a:pPr>
              <a:spcBef>
                <a:spcPts val="600"/>
              </a:spcBef>
              <a:buSzPct val="100000"/>
            </a:pPr>
            <a:endParaRPr lang="en-US" b="1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</a:rPr>
              <a:t>Fixed Costs must be analyzed and recorded through projection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</a:rPr>
              <a:t>Variable costs must be predicted based on past projects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13131"/>
                </a:solidFill>
              </a:rPr>
              <a:t>Important to devise plan for cost division of entire projec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4DF09A-BE47-7942-84E2-96F0391B4695}"/>
              </a:ext>
            </a:extLst>
          </p:cNvPr>
          <p:cNvSpPr txBox="1"/>
          <p:nvPr/>
        </p:nvSpPr>
        <p:spPr>
          <a:xfrm>
            <a:off x="984737" y="4250453"/>
            <a:ext cx="8983227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Supporting Technology and Tools :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313131"/>
                </a:solidFill>
              </a:rPr>
              <a:t>TeamWork</a:t>
            </a:r>
            <a:r>
              <a:rPr lang="en-US" dirty="0">
                <a:solidFill>
                  <a:srgbClr val="313131"/>
                </a:solidFill>
              </a:rPr>
              <a:t> : Slack and Trello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13131"/>
                </a:solidFill>
              </a:rPr>
              <a:t>Administration Methods : Hybrid-Agile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13131"/>
                </a:solidFill>
              </a:rPr>
              <a:t>Technology stack must be constant throughout departments.</a:t>
            </a:r>
          </a:p>
        </p:txBody>
      </p:sp>
    </p:spTree>
    <p:extLst>
      <p:ext uri="{BB962C8B-B14F-4D97-AF65-F5344CB8AC3E}">
        <p14:creationId xmlns:p14="http://schemas.microsoft.com/office/powerpoint/2010/main" val="2973661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2</TotalTime>
  <Words>358</Words>
  <Application>Microsoft Macintosh PowerPoint</Application>
  <PresentationFormat>Widescreen</PresentationFormat>
  <Paragraphs>6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hronicle Display Black</vt:lpstr>
      <vt:lpstr>Courier New</vt:lpstr>
      <vt:lpstr>Open Sans</vt:lpstr>
      <vt:lpstr>Segoe UI Semilight</vt:lpstr>
      <vt:lpstr>Verdana</vt:lpstr>
      <vt:lpstr>Deloitte_4_3_Onscreen</vt:lpstr>
      <vt:lpstr>think-cell Slide</vt:lpstr>
      <vt:lpstr>PowerPoint Presentation</vt:lpstr>
      <vt:lpstr>TECHNOLOGY CONSIDERATIONS</vt:lpstr>
      <vt:lpstr>High Level Business Considerations</vt:lpstr>
      <vt:lpstr>MAJOR CONSIDERA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MUHAMMAD ARSALAN KHURRAM-17881</cp:lastModifiedBy>
  <cp:revision>44</cp:revision>
  <dcterms:created xsi:type="dcterms:W3CDTF">2019-02-05T22:29:20Z</dcterms:created>
  <dcterms:modified xsi:type="dcterms:W3CDTF">2020-06-21T07:36:02Z</dcterms:modified>
</cp:coreProperties>
</file>